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703" r:id="rId2"/>
  </p:sldMasterIdLst>
  <p:notesMasterIdLst>
    <p:notesMasterId r:id="rId14"/>
  </p:notesMasterIdLst>
  <p:sldIdLst>
    <p:sldId id="389" r:id="rId3"/>
    <p:sldId id="388" r:id="rId4"/>
    <p:sldId id="387" r:id="rId5"/>
    <p:sldId id="437" r:id="rId6"/>
    <p:sldId id="384" r:id="rId7"/>
    <p:sldId id="432" r:id="rId8"/>
    <p:sldId id="438" r:id="rId9"/>
    <p:sldId id="448" r:id="rId10"/>
    <p:sldId id="449" r:id="rId11"/>
    <p:sldId id="450" r:id="rId12"/>
    <p:sldId id="434" r:id="rId13"/>
  </p:sldIdLst>
  <p:sldSz cx="12192000" cy="6858000"/>
  <p:notesSz cx="6858000" cy="9144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95" d="100"/>
          <a:sy n="95" d="100"/>
        </p:scale>
        <p:origin x="67" y="1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2DF5F6-2192-45A5-B6CF-63C1A7C24267}" type="datetimeFigureOut">
              <a:rPr lang="nl-BE" smtClean="0"/>
              <a:t>4/04/2026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02CB8F-6AFF-4332-A8AF-80C2743CE2F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9374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3255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B914DD-10A3-C313-CA29-EB569458F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649F37-42B7-CFB6-3AF3-CABACCDD1D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99878B-7D23-0F7A-BDD9-7D0AB68887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99D79-E361-AD09-16DC-EA27E3570A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3059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5565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0517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172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BE8DE-1B23-205C-E6E3-F096E383D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6AA832F9-D3C5-DADD-5FA3-5B2AEFC94F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244B9D0-0744-A4EF-4CF4-2954504D6F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1BC94A6-33C7-4A3D-79CC-2352DFCB10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052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272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87DF4-A167-ACD7-8455-97946EC67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B24733-FEA7-B529-E9DE-9FF3799B1D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75F494-F956-C953-ABB5-1E3692FBE5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B2E59-71BA-2486-4950-4CEF57A25E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1760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03EA8-CCFD-3EB3-8DF1-AC4B6FEE7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DE3657-EBE3-5838-5ECC-C18D4D7767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BAB847-8157-297C-B4E4-03EB478071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B94ABF-8EEC-B637-F3C3-86F09FFA0C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2238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1E33D-D38E-F957-B756-D6CC8DEB62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1408F0-00F7-E223-72A3-ACDA769CC0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3D9931-EDDD-326A-4C7B-A5828AEFD0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091460-22EB-2512-E709-B4BF50119A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0632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A9B3D-AF28-A665-AEC1-7E3251837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12026F-1B7E-668A-9235-9290D637C6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4D6DC3-FE4B-D8BB-DE57-608351DF29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AC593E-08F1-1BDB-00DB-6DC3810D4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2235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2557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53056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40140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18699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65404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34086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43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66509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858629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558191-E5F0-E663-5F5F-6A3D813E5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696764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053DCD4-3813-F170-9F8E-B19670300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0886732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10635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9958759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8311102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46591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61543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202747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1837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23438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330863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4207130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7791047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9559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2615427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865351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6068023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205547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4805300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679814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067204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410073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64647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169788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0112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27016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181606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F71D6-C8BC-463F-A809-7EF7ACDDFE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89E5B8-EA73-49C6-B2D6-E4FB7BC6E4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72C377-D114-4513-9D1C-30EDC61B7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119005-0157-4BF2-BEAE-5BF150E61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F9FCFF-25DB-43A5-B928-1AFAB91F3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40137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0DC20-1BA4-4A6A-9708-E3DE28C9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F79B3C-1335-456C-81FD-DCB8EC17C4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15F120-8586-4287-B97F-495596D8FD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AB993C-5C0D-4427-AD50-B33BC69AC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3751A9-39E2-4218-8839-98D43E3CA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33765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976859-C105-4F7C-A972-C7D8F4B23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CFB77-D9EB-4D55-876E-D05B29A77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5AF32E-779C-43AE-86B1-CA044F2551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5E2B5-8B16-4552-80E7-84BDAC43D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A39ADD-24DA-4A4E-B895-8DB3AA528D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5464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28C36D-A47A-47BB-B82D-697582EA0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A6E10B-DD30-4C0E-A997-73AB650DF2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EB5907-D051-446D-9B4E-5B89940335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2BA533-0340-47DF-85CD-D05E61931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00C0FF-B5C9-4BDF-8436-D2CE19CCB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FCE8AC-B973-4448-80F2-714EDC1BB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04955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F7E135-558B-492C-8DEA-2EC105AF4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2894F5-A710-4254-9830-057F27650C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06AFF9-FCA2-4CE1-8513-E59C58E625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EE994F-6F6D-4F84-A1EE-75016F8263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EDB53F-98B3-462E-9C41-A2EDCD413A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CDECF07-AD10-4E58-8152-EA934E87A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48B6DA-94B9-4EBD-8637-3E5CCE044A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DA9A6C-A3A1-4301-8B95-1B62D3385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66237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9A2F9-3008-47A0-BDF0-EECAEB613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C0340B-6C51-4FFE-8782-A6FD15246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80BC9E-2D80-4B9C-A2EC-95479B6D6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D4E21F-3E94-407C-8945-49BBD9958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56241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D306C-ABD0-48EE-9F6A-6BE1377F1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051E96-1621-46ED-A54B-8E7D7BF8C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DD115A-B6F0-46FB-94C7-3E3A582C2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8705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5955-7383-46E1-BC6A-C4146078E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0D748-EB9E-4409-B537-0058835C67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C4FFAF-BB49-43B0-B7F0-E429A53D48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0344BB-C17D-435F-B02E-5D2AD9B33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D311C5-AA17-47E1-B0F3-0B899E3890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A46995-23E9-495A-B79D-043C8043F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0263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4657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7F83D5-59F8-4A34-903E-2BDFE0501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1C10AC-316C-4075-8CB8-5CE92EB84E9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1DC86D-B6A2-421A-8C2C-9BDA4D7109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26EBC0-2549-4AF0-8FC9-DEC9B51F6B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BE1C7-40B6-4ACD-A7EF-F4A639A6DB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04DA8E-DC99-43C3-A638-F78FBA15D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95477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33763-0A73-4810-AEA4-93F736521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683931-0B17-4175-AE2A-7D565F3150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740640-D3AD-42F1-8046-DCD32AC54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EF6B70-2532-467D-B74C-A215DB11D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72FD23-F394-4F48-AD70-1889B6DAB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09251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CCD0B9-7B5B-418D-962B-E6007384D6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9432ED-66C3-45D1-9C66-200D5563D8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FDBA22-B569-48E4-BF81-80FBAF39E9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ADD3-E7A1-4F85-8D12-1F9FE3A59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A3ED52-49C5-48B8-9864-F4B0D2BE5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228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0750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9352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2128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6225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512">
              <a:srgbClr val="F5FBEB"/>
            </a:gs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6335184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203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</p:sldLayoutIdLst>
  <p:transition>
    <p:fade/>
  </p:transition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512">
              <a:srgbClr val="F5FBEB"/>
            </a:gs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E2FD92-3005-4C7E-8D48-838F5BB5D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641DAF-E5CC-4B7B-87A1-A0CDFE70E4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744301-1EEF-4DCB-A650-EB62B1DD7E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B4B712-678E-4F7A-8DA3-7CCDCC3760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Computer program 2025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DDB788-D996-4BE6-845B-6A9A4D9166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2CF9F0-BBFC-4127-AC8C-4690A3CFBE6D}" type="slidenum">
              <a:rPr lang="ru-RU" smtClean="0"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7300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3.png"/><Relationship Id="rId2" Type="http://schemas.microsoft.com/office/2007/relationships/media" Target="../media/media1.mp4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9D7A346-93C3-4198-A5FC-3DA15D5628F2}"/>
              </a:ext>
            </a:extLst>
          </p:cNvPr>
          <p:cNvSpPr txBox="1"/>
          <p:nvPr/>
        </p:nvSpPr>
        <p:spPr>
          <a:xfrm>
            <a:off x="1657712" y="6198256"/>
            <a:ext cx="16379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prstClr val="black"/>
                </a:solidFill>
                <a:latin typeface="Calibri Light" panose="020F0302020204030204"/>
              </a:rPr>
              <a:t>Rony Wuytjens</a:t>
            </a:r>
          </a:p>
          <a:p>
            <a:r>
              <a:rPr lang="en-US" sz="1400" b="1" dirty="0">
                <a:solidFill>
                  <a:prstClr val="black"/>
                </a:solidFill>
                <a:latin typeface="Calibri Light" panose="020F0302020204030204"/>
              </a:rPr>
              <a:t>March 2026</a:t>
            </a:r>
          </a:p>
        </p:txBody>
      </p:sp>
      <p:pic>
        <p:nvPicPr>
          <p:cNvPr id="1026" name="Picture 2" descr="Welcome to Fund Isaan | Fund Isaan">
            <a:extLst>
              <a:ext uri="{FF2B5EF4-FFF2-40B4-BE49-F238E27FC236}">
                <a16:creationId xmlns:a16="http://schemas.microsoft.com/office/drawing/2014/main" id="{FEBDBA98-FD3C-4F7E-AFF2-93877F29E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486" y="335001"/>
            <a:ext cx="1488427" cy="522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8A94BE30-DF20-3F36-32F8-8F8978208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5646" y="6356352"/>
            <a:ext cx="7305242" cy="365125"/>
          </a:xfrm>
        </p:spPr>
        <p:txBody>
          <a:bodyPr/>
          <a:lstStyle/>
          <a:p>
            <a:r>
              <a:rPr lang="nl-BE" sz="1800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Computer program 2026: </a:t>
            </a:r>
            <a:r>
              <a:rPr lang="nl-BE" sz="1800" dirty="0" err="1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Empowering</a:t>
            </a:r>
            <a:r>
              <a:rPr lang="nl-BE" sz="1800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 </a:t>
            </a:r>
            <a:r>
              <a:rPr lang="nl-BE" sz="1800" dirty="0" err="1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Education</a:t>
            </a:r>
            <a:r>
              <a:rPr lang="nl-BE" sz="1800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 in Thailand </a:t>
            </a:r>
            <a:r>
              <a:rPr lang="nl-BE" sz="1800" dirty="0" err="1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Together</a:t>
            </a:r>
            <a:endParaRPr lang="ru-RU" sz="18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3" name="Video - Academic Memorandum of Understanding (MOU)">
            <a:hlinkClick r:id="" action="ppaction://media"/>
            <a:extLst>
              <a:ext uri="{FF2B5EF4-FFF2-40B4-BE49-F238E27FC236}">
                <a16:creationId xmlns:a16="http://schemas.microsoft.com/office/drawing/2014/main" id="{FFEB9190-1D3D-6FFE-5516-45B92CB3EED1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524000" y="85725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516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0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5E9CE8-3F9C-ACE8-6E66-5C1E905529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67B11EB-E2E5-F761-B530-DEFDCBF2BA0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0239" y="317500"/>
            <a:ext cx="8385174" cy="698501"/>
          </a:xfrm>
        </p:spPr>
        <p:txBody>
          <a:bodyPr/>
          <a:lstStyle/>
          <a:p>
            <a:pPr algn="ctr"/>
            <a:r>
              <a:rPr lang="en-US" dirty="0"/>
              <a:t>Hand-over ceremony at Surin </a:t>
            </a:r>
            <a:r>
              <a:rPr lang="en-US" dirty="0" err="1"/>
              <a:t>Radjabhat</a:t>
            </a:r>
            <a:r>
              <a:rPr lang="en-US" dirty="0"/>
              <a:t> University: 10 Schools</a:t>
            </a: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506839E3-3F00-1FAB-2B9F-DD9A2973B270}"/>
              </a:ext>
            </a:extLst>
          </p:cNvPr>
          <p:cNvSpPr txBox="1"/>
          <p:nvPr/>
        </p:nvSpPr>
        <p:spPr>
          <a:xfrm>
            <a:off x="5104734" y="5074777"/>
            <a:ext cx="173410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Huay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Jing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Wittaya</a:t>
            </a:r>
            <a:br>
              <a:rPr lang="nl-BE" dirty="0">
                <a:solidFill>
                  <a:srgbClr val="313131"/>
                </a:solidFill>
                <a:latin typeface="Verdana"/>
              </a:rPr>
            </a:br>
            <a:r>
              <a:rPr lang="nl-BE" dirty="0">
                <a:solidFill>
                  <a:srgbClr val="313131"/>
                </a:solidFill>
                <a:latin typeface="Verdana"/>
              </a:rPr>
              <a:t>School </a:t>
            </a: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94302C10-EB91-8668-93D4-2407E478E906}"/>
              </a:ext>
            </a:extLst>
          </p:cNvPr>
          <p:cNvSpPr txBox="1"/>
          <p:nvPr/>
        </p:nvSpPr>
        <p:spPr>
          <a:xfrm>
            <a:off x="5304860" y="2098976"/>
            <a:ext cx="133384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i="1" dirty="0" err="1">
                <a:solidFill>
                  <a:srgbClr val="313131"/>
                </a:solidFill>
                <a:latin typeface="Verdana"/>
              </a:rPr>
              <a:t>Thank</a:t>
            </a:r>
            <a:r>
              <a:rPr lang="nl-BE" i="1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i="1" dirty="0" err="1">
                <a:solidFill>
                  <a:srgbClr val="313131"/>
                </a:solidFill>
                <a:latin typeface="Verdana"/>
              </a:rPr>
              <a:t>you</a:t>
            </a:r>
            <a:r>
              <a:rPr lang="nl-BE" i="1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i="1" dirty="0" err="1">
                <a:solidFill>
                  <a:srgbClr val="313131"/>
                </a:solidFill>
                <a:latin typeface="Verdana"/>
              </a:rPr>
              <a:t>for</a:t>
            </a:r>
            <a:r>
              <a:rPr lang="nl-BE" i="1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i="1" dirty="0" err="1">
                <a:solidFill>
                  <a:srgbClr val="313131"/>
                </a:solidFill>
                <a:latin typeface="Verdana"/>
              </a:rPr>
              <a:t>shaping</a:t>
            </a:r>
            <a:r>
              <a:rPr lang="nl-BE" i="1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i="1" dirty="0" err="1">
                <a:solidFill>
                  <a:srgbClr val="313131"/>
                </a:solidFill>
                <a:latin typeface="Verdana"/>
              </a:rPr>
              <a:t>futures</a:t>
            </a:r>
            <a:endParaRPr lang="nl-BE" i="1" dirty="0">
              <a:solidFill>
                <a:srgbClr val="313131"/>
              </a:solidFill>
              <a:latin typeface="Verdana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E28BC7B-F592-BEB6-8DC7-47123D900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716" y="765145"/>
            <a:ext cx="4259180" cy="3194385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A55E381A-C6CD-5D4F-14FA-E058BD45B9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7267" y="3120146"/>
            <a:ext cx="4735765" cy="3551824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74ABAE1E-BD7A-C431-E957-B1057389AF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716" y="3477585"/>
            <a:ext cx="4259179" cy="3194384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88221241-2BF4-864B-1E29-6B2D6A738A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87267" y="731418"/>
            <a:ext cx="4735765" cy="3551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6258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CCC383-EAFB-8453-87BA-0908EA8A5C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Afbeelding 15">
            <a:extLst>
              <a:ext uri="{FF2B5EF4-FFF2-40B4-BE49-F238E27FC236}">
                <a16:creationId xmlns:a16="http://schemas.microsoft.com/office/drawing/2014/main" id="{8C8C6558-CE61-94D8-A766-AFD65265F9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6734" y="2253916"/>
            <a:ext cx="4122549" cy="309191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95CA84C-A18D-9846-E64B-11715D1C878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0239" y="317500"/>
            <a:ext cx="8385174" cy="698501"/>
          </a:xfrm>
        </p:spPr>
        <p:txBody>
          <a:bodyPr/>
          <a:lstStyle/>
          <a:p>
            <a:pPr algn="ctr"/>
            <a:r>
              <a:rPr lang="en-US" dirty="0"/>
              <a:t>March 31: Human Help Network Foundation Thailand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00A7575-71D3-6C32-B908-811314FA44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5277" y="666750"/>
            <a:ext cx="3649211" cy="2736908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02E423AC-9FE0-76D2-D017-94B232C099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548" y="666750"/>
            <a:ext cx="3661794" cy="2746345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316F3E89-6815-E7FF-5471-AAD4EFB15F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548" y="3959254"/>
            <a:ext cx="3661794" cy="2746346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53484830-B249-976A-B2B9-C3E80B765E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55276" y="3959254"/>
            <a:ext cx="3649212" cy="2736909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3C4AB89B-E650-6FE2-02D6-311FD76BE796}"/>
              </a:ext>
            </a:extLst>
          </p:cNvPr>
          <p:cNvSpPr txBox="1"/>
          <p:nvPr/>
        </p:nvSpPr>
        <p:spPr>
          <a:xfrm>
            <a:off x="4425769" y="5911516"/>
            <a:ext cx="32444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i="1" dirty="0">
                <a:solidFill>
                  <a:srgbClr val="313131"/>
                </a:solidFill>
              </a:rPr>
              <a:t>Giving hope </a:t>
            </a:r>
            <a:r>
              <a:rPr lang="nl-BE" i="1" dirty="0" err="1">
                <a:solidFill>
                  <a:srgbClr val="313131"/>
                </a:solidFill>
              </a:rPr>
              <a:t>to</a:t>
            </a:r>
            <a:r>
              <a:rPr lang="nl-BE" i="1" dirty="0">
                <a:solidFill>
                  <a:srgbClr val="313131"/>
                </a:solidFill>
              </a:rPr>
              <a:t> the </a:t>
            </a:r>
            <a:r>
              <a:rPr lang="nl-BE" i="1" dirty="0" err="1">
                <a:solidFill>
                  <a:srgbClr val="313131"/>
                </a:solidFill>
              </a:rPr>
              <a:t>hopeless</a:t>
            </a:r>
            <a:endParaRPr lang="nl-BE" i="1" dirty="0">
              <a:solidFill>
                <a:srgbClr val="313131"/>
              </a:solidFill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15B4A5CC-C083-E3F5-3CFC-ABF8C6892701}"/>
              </a:ext>
            </a:extLst>
          </p:cNvPr>
          <p:cNvSpPr txBox="1"/>
          <p:nvPr/>
        </p:nvSpPr>
        <p:spPr>
          <a:xfrm>
            <a:off x="4425769" y="1016001"/>
            <a:ext cx="29535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</a:rPr>
              <a:t>School </a:t>
            </a:r>
            <a:r>
              <a:rPr lang="nl-BE" dirty="0" err="1">
                <a:solidFill>
                  <a:srgbClr val="313131"/>
                </a:solidFill>
              </a:rPr>
              <a:t>for</a:t>
            </a:r>
            <a:r>
              <a:rPr lang="nl-BE" dirty="0">
                <a:solidFill>
                  <a:srgbClr val="313131"/>
                </a:solidFill>
              </a:rPr>
              <a:t> </a:t>
            </a:r>
            <a:r>
              <a:rPr lang="nl-BE" dirty="0" err="1">
                <a:solidFill>
                  <a:srgbClr val="313131"/>
                </a:solidFill>
              </a:rPr>
              <a:t>homeless</a:t>
            </a:r>
            <a:r>
              <a:rPr lang="nl-BE" dirty="0">
                <a:solidFill>
                  <a:srgbClr val="313131"/>
                </a:solidFill>
              </a:rPr>
              <a:t> </a:t>
            </a:r>
            <a:r>
              <a:rPr lang="nl-BE" dirty="0" err="1">
                <a:solidFill>
                  <a:srgbClr val="313131"/>
                </a:solidFill>
              </a:rPr>
              <a:t>kids</a:t>
            </a:r>
            <a:r>
              <a:rPr lang="nl-BE" dirty="0">
                <a:solidFill>
                  <a:srgbClr val="313131"/>
                </a:solidFill>
              </a:rPr>
              <a:t> </a:t>
            </a:r>
            <a:r>
              <a:rPr lang="nl-BE" dirty="0" err="1">
                <a:solidFill>
                  <a:srgbClr val="313131"/>
                </a:solidFill>
              </a:rPr>
              <a:t>Pattaya</a:t>
            </a:r>
            <a:r>
              <a:rPr lang="nl-BE" dirty="0">
                <a:solidFill>
                  <a:srgbClr val="31313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054539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051589D4-099D-EA91-5EAC-6C038701E3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78042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81439" y="229269"/>
            <a:ext cx="8391525" cy="698500"/>
          </a:xfrm>
        </p:spPr>
        <p:txBody>
          <a:bodyPr/>
          <a:lstStyle/>
          <a:p>
            <a:r>
              <a:rPr lang="nl-BE" dirty="0"/>
              <a:t>A big </a:t>
            </a:r>
            <a:r>
              <a:rPr lang="nl-BE" dirty="0" err="1"/>
              <a:t>thank</a:t>
            </a:r>
            <a:r>
              <a:rPr lang="nl-BE" dirty="0"/>
              <a:t> </a:t>
            </a:r>
            <a:r>
              <a:rPr lang="nl-BE" dirty="0" err="1"/>
              <a:t>you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our</a:t>
            </a:r>
            <a:r>
              <a:rPr lang="nl-BE" dirty="0"/>
              <a:t> sponsor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3080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0239" y="317501"/>
            <a:ext cx="8391525" cy="698500"/>
          </a:xfrm>
        </p:spPr>
        <p:txBody>
          <a:bodyPr/>
          <a:lstStyle/>
          <a:p>
            <a:pPr algn="ctr"/>
            <a:r>
              <a:rPr lang="en-US" dirty="0"/>
              <a:t>March 18 to March 31, 2026: 12 schools, 210 computers 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CEDD694D-41A5-DD64-6D8F-A3D5727FAD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017" y="666751"/>
            <a:ext cx="4357688" cy="3268266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98F15566-C1C2-DA75-7D46-C8EBC12418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2295" y="716260"/>
            <a:ext cx="4357688" cy="3268266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33CF2E74-1E6E-1FAB-471A-CB89051451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2190" y="3935017"/>
            <a:ext cx="3807619" cy="2855714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4D2E1CAA-C18B-5A86-9686-7FAAF499ACC6}"/>
              </a:ext>
            </a:extLst>
          </p:cNvPr>
          <p:cNvSpPr txBox="1"/>
          <p:nvPr/>
        </p:nvSpPr>
        <p:spPr>
          <a:xfrm>
            <a:off x="4748463" y="1147744"/>
            <a:ext cx="26148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Ban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Lamduan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School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45CA9B3E-2D7A-8378-653E-D557C079112D}"/>
              </a:ext>
            </a:extLst>
          </p:cNvPr>
          <p:cNvSpPr txBox="1"/>
          <p:nvPr/>
        </p:nvSpPr>
        <p:spPr>
          <a:xfrm>
            <a:off x="8857471" y="4869510"/>
            <a:ext cx="21073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March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18, 2026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F7165429-01C8-9630-A92D-C83AF86EE8BC}"/>
              </a:ext>
            </a:extLst>
          </p:cNvPr>
          <p:cNvSpPr txBox="1"/>
          <p:nvPr/>
        </p:nvSpPr>
        <p:spPr>
          <a:xfrm>
            <a:off x="209968" y="4592511"/>
            <a:ext cx="338054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i="1" dirty="0">
                <a:solidFill>
                  <a:srgbClr val="313131"/>
                </a:solidFill>
              </a:rPr>
              <a:t>Without computers, </a:t>
            </a:r>
            <a:r>
              <a:rPr lang="nl-BE" i="1" dirty="0" err="1">
                <a:solidFill>
                  <a:srgbClr val="313131"/>
                </a:solidFill>
              </a:rPr>
              <a:t>students</a:t>
            </a:r>
            <a:r>
              <a:rPr lang="nl-BE" i="1" dirty="0">
                <a:solidFill>
                  <a:srgbClr val="313131"/>
                </a:solidFill>
              </a:rPr>
              <a:t> face </a:t>
            </a:r>
            <a:r>
              <a:rPr lang="nl-BE" i="1" dirty="0" err="1">
                <a:solidFill>
                  <a:srgbClr val="313131"/>
                </a:solidFill>
              </a:rPr>
              <a:t>barriers</a:t>
            </a:r>
            <a:r>
              <a:rPr lang="nl-BE" i="1" dirty="0">
                <a:solidFill>
                  <a:srgbClr val="313131"/>
                </a:solidFill>
              </a:rPr>
              <a:t> </a:t>
            </a:r>
            <a:r>
              <a:rPr lang="nl-BE" i="1" dirty="0" err="1">
                <a:solidFill>
                  <a:srgbClr val="313131"/>
                </a:solidFill>
              </a:rPr>
              <a:t>to</a:t>
            </a:r>
            <a:r>
              <a:rPr lang="nl-BE" i="1" dirty="0">
                <a:solidFill>
                  <a:srgbClr val="313131"/>
                </a:solidFill>
              </a:rPr>
              <a:t> digital </a:t>
            </a:r>
            <a:r>
              <a:rPr lang="nl-BE" i="1" dirty="0" err="1">
                <a:solidFill>
                  <a:srgbClr val="313131"/>
                </a:solidFill>
              </a:rPr>
              <a:t>literacy</a:t>
            </a:r>
            <a:r>
              <a:rPr lang="nl-BE" i="1" dirty="0">
                <a:solidFill>
                  <a:srgbClr val="313131"/>
                </a:solidFill>
              </a:rPr>
              <a:t> and </a:t>
            </a:r>
            <a:r>
              <a:rPr lang="nl-BE" i="1" dirty="0" err="1">
                <a:solidFill>
                  <a:srgbClr val="313131"/>
                </a:solidFill>
              </a:rPr>
              <a:t>future</a:t>
            </a:r>
            <a:r>
              <a:rPr lang="nl-BE" i="1" dirty="0">
                <a:solidFill>
                  <a:srgbClr val="313131"/>
                </a:solidFill>
              </a:rPr>
              <a:t> </a:t>
            </a:r>
            <a:r>
              <a:rPr lang="nl-BE" i="1" dirty="0" err="1">
                <a:solidFill>
                  <a:srgbClr val="313131"/>
                </a:solidFill>
              </a:rPr>
              <a:t>opportunities</a:t>
            </a:r>
            <a:endParaRPr lang="nl-BE" i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048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72229E-4190-4DEF-3B97-6A8F9C2268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83C33-34D0-9DBF-6174-72D4126C9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0239" y="317501"/>
            <a:ext cx="8391525" cy="698500"/>
          </a:xfrm>
        </p:spPr>
        <p:txBody>
          <a:bodyPr/>
          <a:lstStyle/>
          <a:p>
            <a:pPr algn="ctr"/>
            <a:r>
              <a:rPr lang="en-US" dirty="0"/>
              <a:t>Hand-over ceremony at Surin </a:t>
            </a:r>
            <a:r>
              <a:rPr lang="en-US" dirty="0" err="1"/>
              <a:t>Radjabhat</a:t>
            </a:r>
            <a:r>
              <a:rPr lang="en-US" dirty="0"/>
              <a:t> University: 10 Schools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B741A9A-4656-3FEA-C757-FD6524765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422" y="666751"/>
            <a:ext cx="4077959" cy="3058470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6BE89628-48A7-B3DA-BE8B-1CEC802F3D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8393" y="666750"/>
            <a:ext cx="4423185" cy="331738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7811E08B-8F64-19F6-CA53-67950D1DCC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8392" y="3304636"/>
            <a:ext cx="4423186" cy="3317390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F5AE6E1D-BD55-5238-149A-82614B831F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422" y="3563557"/>
            <a:ext cx="4077958" cy="3058469"/>
          </a:xfrm>
          <a:prstGeom prst="rect">
            <a:avLst/>
          </a:prstGeom>
        </p:spPr>
      </p:pic>
      <p:sp>
        <p:nvSpPr>
          <p:cNvPr id="18" name="Tekstvak 17">
            <a:extLst>
              <a:ext uri="{FF2B5EF4-FFF2-40B4-BE49-F238E27FC236}">
                <a16:creationId xmlns:a16="http://schemas.microsoft.com/office/drawing/2014/main" id="{B0B35A90-9E47-55C4-22DF-BDE8D7454F8E}"/>
              </a:ext>
            </a:extLst>
          </p:cNvPr>
          <p:cNvSpPr txBox="1"/>
          <p:nvPr/>
        </p:nvSpPr>
        <p:spPr>
          <a:xfrm>
            <a:off x="4853072" y="4574330"/>
            <a:ext cx="242713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Demonstration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School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Surin</a:t>
            </a:r>
            <a:endParaRPr lang="nl-BE" dirty="0">
              <a:solidFill>
                <a:srgbClr val="313131"/>
              </a:solidFill>
              <a:latin typeface="Verdana"/>
            </a:endParaRP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192BEADE-07EE-7997-1C0D-BC73939CD697}"/>
              </a:ext>
            </a:extLst>
          </p:cNvPr>
          <p:cNvSpPr txBox="1"/>
          <p:nvPr/>
        </p:nvSpPr>
        <p:spPr>
          <a:xfrm>
            <a:off x="5399715" y="1501629"/>
            <a:ext cx="133384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March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27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2026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4FA6F925-9C62-3C3C-C6B7-4DFFEBAAAC45}"/>
              </a:ext>
            </a:extLst>
          </p:cNvPr>
          <p:cNvSpPr txBox="1"/>
          <p:nvPr/>
        </p:nvSpPr>
        <p:spPr>
          <a:xfrm>
            <a:off x="4780547" y="2719137"/>
            <a:ext cx="220579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i="1" dirty="0" err="1">
                <a:solidFill>
                  <a:srgbClr val="313131"/>
                </a:solidFill>
              </a:rPr>
              <a:t>Together</a:t>
            </a:r>
            <a:r>
              <a:rPr lang="nl-BE" i="1" dirty="0">
                <a:solidFill>
                  <a:srgbClr val="313131"/>
                </a:solidFill>
              </a:rPr>
              <a:t> we bridge the digital </a:t>
            </a:r>
            <a:r>
              <a:rPr lang="nl-BE" i="1" dirty="0" err="1">
                <a:solidFill>
                  <a:srgbClr val="313131"/>
                </a:solidFill>
              </a:rPr>
              <a:t>divide</a:t>
            </a:r>
            <a:endParaRPr lang="nl-BE" i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3808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1900239" y="317500"/>
            <a:ext cx="8385174" cy="698501"/>
          </a:xfrm>
        </p:spPr>
        <p:txBody>
          <a:bodyPr/>
          <a:lstStyle/>
          <a:p>
            <a:pPr algn="ctr"/>
            <a:r>
              <a:rPr lang="en-US" dirty="0"/>
              <a:t>Hand-over ceremony at Surin </a:t>
            </a:r>
            <a:r>
              <a:rPr lang="en-US" dirty="0" err="1"/>
              <a:t>Radjabhat</a:t>
            </a:r>
            <a:r>
              <a:rPr lang="en-US" dirty="0"/>
              <a:t> University: 10 Schools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3ACC0C15-F13A-ADBC-728C-F30C81E2AB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608" y="705663"/>
            <a:ext cx="4211055" cy="3158291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3FF9BB83-0B48-0EF1-4AD9-9DEB0DC0C9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0105" y="666750"/>
            <a:ext cx="4262939" cy="3197204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CA1892FF-CD58-8BBC-09DB-5D1EB93881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608" y="3559478"/>
            <a:ext cx="4211054" cy="31582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3509F185-A949-7893-9CD5-7C8349D28A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0107" y="3498564"/>
            <a:ext cx="4262938" cy="3197203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7DC944BE-05E1-949B-3532-0B566D2035AB}"/>
              </a:ext>
            </a:extLst>
          </p:cNvPr>
          <p:cNvSpPr txBox="1"/>
          <p:nvPr/>
        </p:nvSpPr>
        <p:spPr>
          <a:xfrm>
            <a:off x="5116597" y="3703453"/>
            <a:ext cx="195245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Ban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Sano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School</a:t>
            </a: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8A2169A7-5601-9405-7C1A-30E9A7F3ADF6}"/>
              </a:ext>
            </a:extLst>
          </p:cNvPr>
          <p:cNvSpPr txBox="1"/>
          <p:nvPr/>
        </p:nvSpPr>
        <p:spPr>
          <a:xfrm>
            <a:off x="5399715" y="1501629"/>
            <a:ext cx="133384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March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27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2026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1C1475D4-ED0C-7EA4-1D60-C2226064CB77}"/>
              </a:ext>
            </a:extLst>
          </p:cNvPr>
          <p:cNvSpPr txBox="1"/>
          <p:nvPr/>
        </p:nvSpPr>
        <p:spPr>
          <a:xfrm>
            <a:off x="4731670" y="4614096"/>
            <a:ext cx="2722311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i="1" dirty="0">
                <a:solidFill>
                  <a:srgbClr val="313131"/>
                </a:solidFill>
              </a:rPr>
              <a:t>Benefits: </a:t>
            </a:r>
          </a:p>
          <a:p>
            <a:pPr>
              <a:spcBef>
                <a:spcPts val="600"/>
              </a:spcBef>
              <a:buSzPct val="100000"/>
            </a:pPr>
            <a:r>
              <a:rPr lang="nl-BE" i="1" dirty="0">
                <a:solidFill>
                  <a:srgbClr val="313131"/>
                </a:solidFill>
              </a:rPr>
              <a:t>- </a:t>
            </a:r>
            <a:r>
              <a:rPr lang="nl-BE" i="1" dirty="0" err="1">
                <a:solidFill>
                  <a:srgbClr val="313131"/>
                </a:solidFill>
              </a:rPr>
              <a:t>Improved</a:t>
            </a:r>
            <a:r>
              <a:rPr lang="nl-BE" i="1" dirty="0">
                <a:solidFill>
                  <a:srgbClr val="313131"/>
                </a:solidFill>
              </a:rPr>
              <a:t> </a:t>
            </a:r>
            <a:r>
              <a:rPr lang="nl-BE" i="1" dirty="0" err="1">
                <a:solidFill>
                  <a:srgbClr val="313131"/>
                </a:solidFill>
              </a:rPr>
              <a:t>learning</a:t>
            </a:r>
            <a:endParaRPr lang="nl-BE" i="1" dirty="0">
              <a:solidFill>
                <a:srgbClr val="313131"/>
              </a:solidFill>
            </a:endParaRPr>
          </a:p>
          <a:p>
            <a:pPr>
              <a:spcBef>
                <a:spcPts val="600"/>
              </a:spcBef>
              <a:buSzPct val="100000"/>
            </a:pPr>
            <a:r>
              <a:rPr lang="nl-BE" i="1" dirty="0">
                <a:solidFill>
                  <a:srgbClr val="313131"/>
                </a:solidFill>
              </a:rPr>
              <a:t>- Access </a:t>
            </a:r>
            <a:r>
              <a:rPr lang="nl-BE" i="1" dirty="0" err="1">
                <a:solidFill>
                  <a:srgbClr val="313131"/>
                </a:solidFill>
              </a:rPr>
              <a:t>to</a:t>
            </a:r>
            <a:r>
              <a:rPr lang="nl-BE" i="1" dirty="0">
                <a:solidFill>
                  <a:srgbClr val="313131"/>
                </a:solidFill>
              </a:rPr>
              <a:t> </a:t>
            </a:r>
            <a:r>
              <a:rPr lang="nl-BE" i="1" dirty="0" err="1">
                <a:solidFill>
                  <a:srgbClr val="313131"/>
                </a:solidFill>
              </a:rPr>
              <a:t>knowledge</a:t>
            </a:r>
            <a:endParaRPr lang="nl-BE" i="1" dirty="0">
              <a:solidFill>
                <a:srgbClr val="313131"/>
              </a:solidFill>
            </a:endParaRPr>
          </a:p>
          <a:p>
            <a:pPr>
              <a:spcBef>
                <a:spcPts val="600"/>
              </a:spcBef>
              <a:buSzPct val="100000"/>
            </a:pPr>
            <a:r>
              <a:rPr lang="nl-BE" i="1" dirty="0">
                <a:solidFill>
                  <a:srgbClr val="313131"/>
                </a:solidFill>
              </a:rPr>
              <a:t>- Digital skills</a:t>
            </a:r>
          </a:p>
        </p:txBody>
      </p:sp>
    </p:spTree>
    <p:extLst>
      <p:ext uri="{BB962C8B-B14F-4D97-AF65-F5344CB8AC3E}">
        <p14:creationId xmlns:p14="http://schemas.microsoft.com/office/powerpoint/2010/main" val="264969958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C798D-5D75-B71E-F8AB-4200079ECD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B64A0B-9034-2813-8758-7B65976696B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0239" y="317500"/>
            <a:ext cx="8385174" cy="698501"/>
          </a:xfrm>
        </p:spPr>
        <p:txBody>
          <a:bodyPr/>
          <a:lstStyle/>
          <a:p>
            <a:pPr algn="ctr"/>
            <a:r>
              <a:rPr lang="en-US" dirty="0"/>
              <a:t>Hand-over ceremony at Surin </a:t>
            </a:r>
            <a:r>
              <a:rPr lang="en-US" dirty="0" err="1"/>
              <a:t>Radjabhat</a:t>
            </a:r>
            <a:r>
              <a:rPr lang="en-US" dirty="0"/>
              <a:t> University: 10 Schools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F5B95DF-C918-C03F-A7E7-C48C9AA7DD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591" y="685469"/>
            <a:ext cx="4323670" cy="3242753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7B3FDF81-E49D-7DBF-2007-0528586013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5019" y="3441175"/>
            <a:ext cx="4323672" cy="3242754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4DCEC1AF-28A7-6BC0-1F90-5BAF0CC9C8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591" y="3441173"/>
            <a:ext cx="4323672" cy="3242754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5430179E-4F3E-F042-6EDF-54F2A2334515}"/>
              </a:ext>
            </a:extLst>
          </p:cNvPr>
          <p:cNvSpPr txBox="1"/>
          <p:nvPr/>
        </p:nvSpPr>
        <p:spPr>
          <a:xfrm>
            <a:off x="5023206" y="3651226"/>
            <a:ext cx="213924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Tessaban 3 School</a:t>
            </a: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478F956D-6A0D-A6FE-70A8-1E45A46354CB}"/>
              </a:ext>
            </a:extLst>
          </p:cNvPr>
          <p:cNvSpPr txBox="1"/>
          <p:nvPr/>
        </p:nvSpPr>
        <p:spPr>
          <a:xfrm>
            <a:off x="5399715" y="1501629"/>
            <a:ext cx="133384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March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27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2026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3D2E55A-5434-C61F-9AF1-74F574E936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7585018" y="666750"/>
            <a:ext cx="4323672" cy="3242755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2929BD44-CE7E-6CD4-375A-DB07F9D2F5EB}"/>
              </a:ext>
            </a:extLst>
          </p:cNvPr>
          <p:cNvSpPr txBox="1"/>
          <p:nvPr/>
        </p:nvSpPr>
        <p:spPr>
          <a:xfrm>
            <a:off x="4831574" y="5062550"/>
            <a:ext cx="247013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i="1" dirty="0" err="1">
                <a:solidFill>
                  <a:srgbClr val="313131"/>
                </a:solidFill>
              </a:rPr>
              <a:t>This</a:t>
            </a:r>
            <a:r>
              <a:rPr lang="nl-BE" i="1" dirty="0">
                <a:solidFill>
                  <a:srgbClr val="313131"/>
                </a:solidFill>
              </a:rPr>
              <a:t> was </a:t>
            </a:r>
            <a:r>
              <a:rPr lang="nl-BE" i="1" dirty="0" err="1">
                <a:solidFill>
                  <a:srgbClr val="313131"/>
                </a:solidFill>
              </a:rPr>
              <a:t>possible</a:t>
            </a:r>
            <a:r>
              <a:rPr lang="nl-BE" i="1" dirty="0">
                <a:solidFill>
                  <a:srgbClr val="313131"/>
                </a:solidFill>
              </a:rPr>
              <a:t> </a:t>
            </a:r>
            <a:r>
              <a:rPr lang="nl-BE" i="1" dirty="0" err="1">
                <a:solidFill>
                  <a:srgbClr val="313131"/>
                </a:solidFill>
              </a:rPr>
              <a:t>because</a:t>
            </a:r>
            <a:r>
              <a:rPr lang="nl-BE" i="1" dirty="0">
                <a:solidFill>
                  <a:srgbClr val="313131"/>
                </a:solidFill>
              </a:rPr>
              <a:t> of </a:t>
            </a:r>
            <a:r>
              <a:rPr lang="nl-BE" i="1" dirty="0" err="1">
                <a:solidFill>
                  <a:srgbClr val="313131"/>
                </a:solidFill>
              </a:rPr>
              <a:t>you</a:t>
            </a:r>
            <a:r>
              <a:rPr lang="nl-BE" i="1" dirty="0">
                <a:solidFill>
                  <a:srgbClr val="31313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08905093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55F573-3CBA-4CEF-5A0E-1F26969ED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06A01B-FD9A-293B-086A-736278C1A45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0239" y="317500"/>
            <a:ext cx="8385174" cy="698501"/>
          </a:xfrm>
        </p:spPr>
        <p:txBody>
          <a:bodyPr/>
          <a:lstStyle/>
          <a:p>
            <a:pPr algn="ctr"/>
            <a:r>
              <a:rPr lang="en-US" dirty="0"/>
              <a:t>Hand-over ceremony at Surin </a:t>
            </a:r>
            <a:r>
              <a:rPr lang="en-US" dirty="0" err="1"/>
              <a:t>Radjabhat</a:t>
            </a:r>
            <a:r>
              <a:rPr lang="en-US" dirty="0"/>
              <a:t> University: 10 Schools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09886CC-4769-4F68-021D-3C1CE392C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843" y="855979"/>
            <a:ext cx="4323346" cy="3242509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D357ED21-E90C-A8F1-268A-D745FA99F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41462" y="764118"/>
            <a:ext cx="4323346" cy="324250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EB5A81F5-CE55-D7BC-F6AD-36D89D7402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192" y="3429000"/>
            <a:ext cx="4323345" cy="3242509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487122CB-CECB-E546-8B8F-B44BF45B01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41462" y="3455948"/>
            <a:ext cx="4332869" cy="3249652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3FA4E924-D5F0-7188-F96A-DD850C441A31}"/>
              </a:ext>
            </a:extLst>
          </p:cNvPr>
          <p:cNvSpPr txBox="1"/>
          <p:nvPr/>
        </p:nvSpPr>
        <p:spPr>
          <a:xfrm>
            <a:off x="5262696" y="1980991"/>
            <a:ext cx="16666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Ban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Nong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Thong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School</a:t>
            </a: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33028CD7-970B-61EB-A308-9EBB7116F479}"/>
              </a:ext>
            </a:extLst>
          </p:cNvPr>
          <p:cNvSpPr txBox="1"/>
          <p:nvPr/>
        </p:nvSpPr>
        <p:spPr>
          <a:xfrm>
            <a:off x="5259522" y="5140517"/>
            <a:ext cx="166660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Rae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Wittaya</a:t>
            </a:r>
            <a:endParaRPr lang="nl-BE" dirty="0">
              <a:solidFill>
                <a:srgbClr val="313131"/>
              </a:solidFill>
              <a:latin typeface="Verdana"/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School</a:t>
            </a: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0A04905E-6418-E2ED-E476-7EBAE0BA61F0}"/>
              </a:ext>
            </a:extLst>
          </p:cNvPr>
          <p:cNvSpPr txBox="1"/>
          <p:nvPr/>
        </p:nvSpPr>
        <p:spPr>
          <a:xfrm>
            <a:off x="5425901" y="3691156"/>
            <a:ext cx="133384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March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27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21220053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261E61-2AC1-42C6-8525-E324D423D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8A7793-9BF7-9AF4-4DC1-A84517315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0239" y="317500"/>
            <a:ext cx="8385174" cy="698501"/>
          </a:xfrm>
        </p:spPr>
        <p:txBody>
          <a:bodyPr/>
          <a:lstStyle/>
          <a:p>
            <a:pPr algn="ctr"/>
            <a:r>
              <a:rPr lang="en-US" dirty="0"/>
              <a:t>Hand-over ceremony at Surin </a:t>
            </a:r>
            <a:r>
              <a:rPr lang="en-US" dirty="0" err="1"/>
              <a:t>Radjabhat</a:t>
            </a:r>
            <a:r>
              <a:rPr lang="en-US" dirty="0"/>
              <a:t> University: 10 Schools</a:t>
            </a: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1EF02E2C-765B-CC7A-E0A3-230BB28A69AA}"/>
              </a:ext>
            </a:extLst>
          </p:cNvPr>
          <p:cNvSpPr txBox="1"/>
          <p:nvPr/>
        </p:nvSpPr>
        <p:spPr>
          <a:xfrm>
            <a:off x="5259522" y="5140517"/>
            <a:ext cx="16666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Tessaban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Krahad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School</a:t>
            </a: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7BB59C67-A794-74AB-FE8B-25C0FD9F6534}"/>
              </a:ext>
            </a:extLst>
          </p:cNvPr>
          <p:cNvSpPr txBox="1"/>
          <p:nvPr/>
        </p:nvSpPr>
        <p:spPr>
          <a:xfrm>
            <a:off x="5425901" y="3691156"/>
            <a:ext cx="133384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March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27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2026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092662D-BE19-F797-1A71-995A293D00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549" y="731110"/>
            <a:ext cx="4155604" cy="3116703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1FF24D46-C13D-C19B-057C-2A3FC0188B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2032" y="666750"/>
            <a:ext cx="4241417" cy="3181063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11CC913A-EFEA-43A2-8B7B-3F044707CF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549" y="3532751"/>
            <a:ext cx="4155604" cy="3116703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0CF39AA0-66A4-CF9A-03DF-119EAF4A4C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42032" y="3473154"/>
            <a:ext cx="4241417" cy="3181063"/>
          </a:xfrm>
          <a:prstGeom prst="rect">
            <a:avLst/>
          </a:prstGeom>
        </p:spPr>
      </p:pic>
      <p:sp>
        <p:nvSpPr>
          <p:cNvPr id="21" name="Tekstvak 20">
            <a:extLst>
              <a:ext uri="{FF2B5EF4-FFF2-40B4-BE49-F238E27FC236}">
                <a16:creationId xmlns:a16="http://schemas.microsoft.com/office/drawing/2014/main" id="{E1F6BE78-C3BC-D607-2D88-AC85454CA97E}"/>
              </a:ext>
            </a:extLst>
          </p:cNvPr>
          <p:cNvSpPr txBox="1"/>
          <p:nvPr/>
        </p:nvSpPr>
        <p:spPr>
          <a:xfrm>
            <a:off x="5265870" y="1400962"/>
            <a:ext cx="1660258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"/>
            <a:r>
              <a:rPr lang="nl-BE" dirty="0" err="1">
                <a:solidFill>
                  <a:prstClr val="black"/>
                </a:solidFill>
                <a:latin typeface="Verdana"/>
              </a:rPr>
              <a:t>Bannatang</a:t>
            </a:r>
            <a:br>
              <a:rPr lang="nl-BE" dirty="0">
                <a:solidFill>
                  <a:prstClr val="black"/>
                </a:solidFill>
                <a:latin typeface="Verdana"/>
              </a:rPr>
            </a:br>
            <a:r>
              <a:rPr lang="nl-BE" dirty="0" err="1">
                <a:solidFill>
                  <a:prstClr val="black"/>
                </a:solidFill>
                <a:latin typeface="Verdana"/>
              </a:rPr>
              <a:t>Trabag</a:t>
            </a:r>
            <a:endParaRPr lang="nl-BE" dirty="0">
              <a:solidFill>
                <a:prstClr val="black"/>
              </a:solidFill>
              <a:latin typeface="Verdana"/>
            </a:endParaRPr>
          </a:p>
          <a:p>
            <a:pPr algn="ctr" fontAlgn="b"/>
            <a:r>
              <a:rPr lang="nl-BE" dirty="0">
                <a:solidFill>
                  <a:prstClr val="black"/>
                </a:solidFill>
                <a:latin typeface="Verdana"/>
              </a:rPr>
              <a:t>Kanchanupa-</a:t>
            </a:r>
          </a:p>
          <a:p>
            <a:pPr algn="ctr" fontAlgn="b"/>
            <a:r>
              <a:rPr lang="nl-BE" dirty="0" err="1">
                <a:solidFill>
                  <a:prstClr val="black"/>
                </a:solidFill>
                <a:latin typeface="Verdana"/>
              </a:rPr>
              <a:t>Tham</a:t>
            </a:r>
            <a:r>
              <a:rPr lang="nl-BE" dirty="0">
                <a:solidFill>
                  <a:prstClr val="black"/>
                </a:solidFill>
                <a:latin typeface="Verdana"/>
              </a:rPr>
              <a:t> School</a:t>
            </a:r>
            <a:endParaRPr lang="nl-BE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�"/>
            </a:pPr>
            <a:endParaRPr lang="nl-BE" dirty="0">
              <a:solidFill>
                <a:srgbClr val="31313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8139927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7F7FA6-D461-D659-9AD4-DB7259BCEA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5E6EE3DB-1E15-C39C-3072-4CF50E4D9C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570" y="811261"/>
            <a:ext cx="4347409" cy="326055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941B431-D2FE-BBCC-408C-00FEC2571B5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0239" y="317500"/>
            <a:ext cx="8385174" cy="698501"/>
          </a:xfrm>
        </p:spPr>
        <p:txBody>
          <a:bodyPr/>
          <a:lstStyle/>
          <a:p>
            <a:pPr algn="ctr"/>
            <a:r>
              <a:rPr lang="en-US" dirty="0"/>
              <a:t>Hand-over ceremony at Surin </a:t>
            </a:r>
            <a:r>
              <a:rPr lang="en-US" dirty="0" err="1"/>
              <a:t>Radjabhat</a:t>
            </a:r>
            <a:r>
              <a:rPr lang="en-US" dirty="0"/>
              <a:t> University: 10 Schools</a:t>
            </a: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F2FFA092-4A71-B50C-63B0-8ECE724CADB4}"/>
              </a:ext>
            </a:extLst>
          </p:cNvPr>
          <p:cNvSpPr txBox="1"/>
          <p:nvPr/>
        </p:nvSpPr>
        <p:spPr>
          <a:xfrm>
            <a:off x="5259522" y="5140517"/>
            <a:ext cx="173410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Suwannaphum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</a:t>
            </a:r>
            <a:r>
              <a:rPr lang="nl-BE" dirty="0" err="1">
                <a:solidFill>
                  <a:srgbClr val="313131"/>
                </a:solidFill>
                <a:latin typeface="Verdana"/>
              </a:rPr>
              <a:t>Wittalai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School </a:t>
            </a: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6BF81732-A935-64F0-B41D-BF4EB0550D4A}"/>
              </a:ext>
            </a:extLst>
          </p:cNvPr>
          <p:cNvSpPr txBox="1"/>
          <p:nvPr/>
        </p:nvSpPr>
        <p:spPr>
          <a:xfrm>
            <a:off x="5425901" y="3691156"/>
            <a:ext cx="133384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srgbClr val="313131"/>
                </a:solidFill>
                <a:latin typeface="Verdana"/>
              </a:rPr>
              <a:t>March</a:t>
            </a:r>
            <a:r>
              <a:rPr lang="nl-BE" dirty="0">
                <a:solidFill>
                  <a:srgbClr val="313131"/>
                </a:solidFill>
                <a:latin typeface="Verdana"/>
              </a:rPr>
              <a:t> 27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nl-BE" dirty="0">
                <a:solidFill>
                  <a:srgbClr val="313131"/>
                </a:solidFill>
                <a:latin typeface="Verdana"/>
              </a:rPr>
              <a:t>2026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0C2A812-6DA3-1BBE-4B9E-5C0CB58C5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461" y="3527879"/>
            <a:ext cx="4296518" cy="3222389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4E2EDD17-6923-1A76-4C83-F322DC15D8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2103" y="3410946"/>
            <a:ext cx="4436979" cy="3327734"/>
          </a:xfrm>
          <a:prstGeom prst="rect">
            <a:avLst/>
          </a:prstGeom>
        </p:spPr>
      </p:pic>
      <p:sp>
        <p:nvSpPr>
          <p:cNvPr id="13" name="Tekstvak 12">
            <a:extLst>
              <a:ext uri="{FF2B5EF4-FFF2-40B4-BE49-F238E27FC236}">
                <a16:creationId xmlns:a16="http://schemas.microsoft.com/office/drawing/2014/main" id="{6FFCBE6A-FF6E-F6BE-BC18-EBFF11A5F9E8}"/>
              </a:ext>
            </a:extLst>
          </p:cNvPr>
          <p:cNvSpPr txBox="1"/>
          <p:nvPr/>
        </p:nvSpPr>
        <p:spPr>
          <a:xfrm>
            <a:off x="5332602" y="1249961"/>
            <a:ext cx="1510018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dirty="0" err="1">
                <a:solidFill>
                  <a:prstClr val="black"/>
                </a:solidFill>
                <a:latin typeface="Arial" panose="020B0604020202020204" pitchFamily="34" charset="0"/>
              </a:rPr>
              <a:t>Nong</a:t>
            </a:r>
            <a:r>
              <a:rPr lang="nl-BE" dirty="0">
                <a:solidFill>
                  <a:prstClr val="black"/>
                </a:solidFill>
                <a:latin typeface="Arial" panose="020B0604020202020204" pitchFamily="34" charset="0"/>
              </a:rPr>
              <a:t> E </a:t>
            </a:r>
            <a:r>
              <a:rPr lang="nl-BE" dirty="0" err="1">
                <a:solidFill>
                  <a:prstClr val="black"/>
                </a:solidFill>
                <a:latin typeface="Arial" panose="020B0604020202020204" pitchFamily="34" charset="0"/>
              </a:rPr>
              <a:t>yor</a:t>
            </a:r>
            <a:r>
              <a:rPr lang="nl-BE" dirty="0">
                <a:solidFill>
                  <a:prstClr val="black"/>
                </a:solidFill>
                <a:latin typeface="Arial" panose="020B0604020202020204" pitchFamily="34" charset="0"/>
              </a:rPr>
              <a:t> School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�"/>
            </a:pPr>
            <a:endParaRPr lang="nl-BE" dirty="0">
              <a:solidFill>
                <a:srgbClr val="313131"/>
              </a:solidFill>
              <a:latin typeface="Verdana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EC8FB1A2-8D90-8911-71D2-B88656A8D4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32103" y="666750"/>
            <a:ext cx="4436979" cy="3327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1874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 [Read-Only]" id="{4079C597-69C8-4879-BB49-9FD3A182AA92}" vid="{3E55B4F6-BD48-4017-8CD4-49ECDB5CD8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</TotalTime>
  <Words>230</Words>
  <Application>Microsoft Office PowerPoint</Application>
  <PresentationFormat>Breedbeeld</PresentationFormat>
  <Paragraphs>61</Paragraphs>
  <Slides>11</Slides>
  <Notes>11</Notes>
  <HiddenSlides>0</HiddenSlides>
  <MMClips>1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19" baseType="lpstr">
      <vt:lpstr>Aptos</vt:lpstr>
      <vt:lpstr>Arial</vt:lpstr>
      <vt:lpstr>Calibri</vt:lpstr>
      <vt:lpstr>Calibri Light</vt:lpstr>
      <vt:lpstr>Verdana</vt:lpstr>
      <vt:lpstr>Deloitte 16_9 onscreen</vt:lpstr>
      <vt:lpstr>Office Theme</vt:lpstr>
      <vt:lpstr>think-cell Slide</vt:lpstr>
      <vt:lpstr>PowerPoint-presentatie</vt:lpstr>
      <vt:lpstr>A big thank you to our sponsors:</vt:lpstr>
      <vt:lpstr>March 18 to March 31, 2026: 12 schools, 210 computers </vt:lpstr>
      <vt:lpstr>Hand-over ceremony at Surin Radjabhat University: 10 Schools</vt:lpstr>
      <vt:lpstr>Hand-over ceremony at Surin Radjabhat University: 10 Schools</vt:lpstr>
      <vt:lpstr>Hand-over ceremony at Surin Radjabhat University: 10 Schools</vt:lpstr>
      <vt:lpstr>Hand-over ceremony at Surin Radjabhat University: 10 Schools</vt:lpstr>
      <vt:lpstr>Hand-over ceremony at Surin Radjabhat University: 10 Schools</vt:lpstr>
      <vt:lpstr>Hand-over ceremony at Surin Radjabhat University: 10 Schools</vt:lpstr>
      <vt:lpstr>Hand-over ceremony at Surin Radjabhat University: 10 Schools</vt:lpstr>
      <vt:lpstr>March 31: Human Help Network Foundation Thailan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ny Wuytjens</dc:creator>
  <cp:lastModifiedBy>Rony Wuytjens</cp:lastModifiedBy>
  <cp:revision>1</cp:revision>
  <dcterms:created xsi:type="dcterms:W3CDTF">2026-04-04T08:36:32Z</dcterms:created>
  <dcterms:modified xsi:type="dcterms:W3CDTF">2026-04-04T09:06:13Z</dcterms:modified>
</cp:coreProperties>
</file>